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4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2.xml" ContentType="application/vnd.openxmlformats-officedocument.presentationml.tags+xml"/>
  <Override PartName="/ppt/notesSlides/notesSlide24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1" r:id="rId25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48.xml" Id="rId25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8.xml.rels>&#65279;<?xml version="1.0" encoding="utf-8"?><Relationships xmlns="http://schemas.openxmlformats.org/package/2006/relationships"><Relationship Type="http://schemas.openxmlformats.org/officeDocument/2006/relationships/slide" Target="/ppt/slides/slide248.xml" Id="rId2" /><Relationship Type="http://schemas.openxmlformats.org/officeDocument/2006/relationships/notesMaster" Target="/ppt/notesMasters/notesMaster1.xml" Id="rId1" /></Relationships>
</file>

<file path=ppt/notesSlides/notesSlide2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3398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8.xml.rels>&#65279;<?xml version="1.0" encoding="utf-8"?><Relationships xmlns="http://schemas.openxmlformats.org/package/2006/relationships"><Relationship Type="http://schemas.openxmlformats.org/officeDocument/2006/relationships/image" Target="/ppt/media/image458.svg" Id="rId8" /><Relationship Type="http://schemas.openxmlformats.org/officeDocument/2006/relationships/image" Target="/ppt/media/image461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457.png" Id="rId7" /><Relationship Type="http://schemas.openxmlformats.org/officeDocument/2006/relationships/image" Target="/ppt/media/image460.svg" Id="rId12" /><Relationship Type="http://schemas.openxmlformats.org/officeDocument/2006/relationships/tags" Target="/ppt/tags/tag2112.xml" Id="rId2" /><Relationship Type="http://schemas.openxmlformats.org/officeDocument/2006/relationships/vmlDrawing" Target="/ppt/drawings/vmlDrawing252.vml" Id="rId1" /><Relationship Type="http://schemas.openxmlformats.org/officeDocument/2006/relationships/image" Target="/ppt/media/image4.emf" Id="rId6" /><Relationship Type="http://schemas.openxmlformats.org/officeDocument/2006/relationships/image" Target="/ppt/media/image459.png" Id="rId11" /><Relationship Type="http://schemas.openxmlformats.org/officeDocument/2006/relationships/oleObject" Target="/ppt/embeddings/oleObject252.bin" Id="rId5" /><Relationship Type="http://schemas.openxmlformats.org/officeDocument/2006/relationships/image" Target="/ppt/media/image365.svg" Id="rId10" /><Relationship Type="http://schemas.openxmlformats.org/officeDocument/2006/relationships/notesSlide" Target="/ppt/notesSlides/notesSlide248.xml" Id="rId4" /><Relationship Type="http://schemas.openxmlformats.org/officeDocument/2006/relationships/image" Target="/ppt/media/image364.png" Id="rId9" /><Relationship Type="http://schemas.openxmlformats.org/officeDocument/2006/relationships/image" Target="/ppt/media/image462.svg" Id="rId14" /></Relationships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23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Gears</a:t>
            </a:r>
          </a:p>
        </p:txBody>
      </p:sp>
      <p:sp>
        <p:nvSpPr>
          <p:cNvPr id="2" name="Freihandform: Form 6">
            <a:extLst>
              <a:ext uri="{FF2B5EF4-FFF2-40B4-BE49-F238E27FC236}">
                <a16:creationId xmlns:a16="http://schemas.microsoft.com/office/drawing/2014/main" id="{A291267C-4E90-CD8A-1BB7-A9464F1E996E}"/>
              </a:ext>
            </a:extLst>
          </p:cNvPr>
          <p:cNvSpPr>
            <a:spLocks/>
          </p:cNvSpPr>
          <p:nvPr/>
        </p:nvSpPr>
        <p:spPr>
          <a:xfrm>
            <a:off x="3468706" y="1706880"/>
            <a:ext cx="2378739" cy="2385735"/>
          </a:xfrm>
          <a:custGeom>
            <a:avLst/>
            <a:gdLst>
              <a:gd name="connsiteX0" fmla="*/ 1844993 w 3043999"/>
              <a:gd name="connsiteY0" fmla="*/ 172117 h 3052952"/>
              <a:gd name="connsiteX1" fmla="*/ 1824895 w 3043999"/>
              <a:gd name="connsiteY1" fmla="*/ 30290 h 3052952"/>
              <a:gd name="connsiteX2" fmla="*/ 1679734 w 3043999"/>
              <a:gd name="connsiteY2" fmla="*/ 8192 h 3052952"/>
              <a:gd name="connsiteX3" fmla="*/ 1533144 w 3043999"/>
              <a:gd name="connsiteY3" fmla="*/ 0 h 3052952"/>
              <a:gd name="connsiteX4" fmla="*/ 1484281 w 3043999"/>
              <a:gd name="connsiteY4" fmla="*/ 134684 h 3052952"/>
              <a:gd name="connsiteX5" fmla="*/ 1126712 w 3043999"/>
              <a:gd name="connsiteY5" fmla="*/ 192024 h 3052952"/>
              <a:gd name="connsiteX6" fmla="*/ 1038225 w 3043999"/>
              <a:gd name="connsiteY6" fmla="*/ 78867 h 3052952"/>
              <a:gd name="connsiteX7" fmla="*/ 770668 w 3043999"/>
              <a:gd name="connsiteY7" fmla="*/ 199263 h 3052952"/>
              <a:gd name="connsiteX8" fmla="*/ 795528 w 3043999"/>
              <a:gd name="connsiteY8" fmla="*/ 340519 h 3052952"/>
              <a:gd name="connsiteX9" fmla="*/ 514350 w 3043999"/>
              <a:gd name="connsiteY9" fmla="*/ 569405 h 3052952"/>
              <a:gd name="connsiteX10" fmla="*/ 381667 w 3043999"/>
              <a:gd name="connsiteY10" fmla="*/ 515969 h 3052952"/>
              <a:gd name="connsiteX11" fmla="*/ 209169 w 3043999"/>
              <a:gd name="connsiteY11" fmla="*/ 753904 h 3052952"/>
              <a:gd name="connsiteX12" fmla="*/ 301371 w 3043999"/>
              <a:gd name="connsiteY12" fmla="*/ 864108 h 3052952"/>
              <a:gd name="connsiteX13" fmla="*/ 171926 w 3043999"/>
              <a:gd name="connsiteY13" fmla="*/ 1203293 h 3052952"/>
              <a:gd name="connsiteX14" fmla="*/ 30480 w 3043999"/>
              <a:gd name="connsiteY14" fmla="*/ 1223582 h 3052952"/>
              <a:gd name="connsiteX15" fmla="*/ 8287 w 3043999"/>
              <a:gd name="connsiteY15" fmla="*/ 1369219 h 3052952"/>
              <a:gd name="connsiteX16" fmla="*/ 0 w 3043999"/>
              <a:gd name="connsiteY16" fmla="*/ 1516285 h 3052952"/>
              <a:gd name="connsiteX17" fmla="*/ 134207 w 3043999"/>
              <a:gd name="connsiteY17" fmla="*/ 1565243 h 3052952"/>
              <a:gd name="connsiteX18" fmla="*/ 191167 w 3043999"/>
              <a:gd name="connsiteY18" fmla="*/ 1923764 h 3052952"/>
              <a:gd name="connsiteX19" fmla="*/ 78296 w 3043999"/>
              <a:gd name="connsiteY19" fmla="*/ 2012633 h 3052952"/>
              <a:gd name="connsiteX20" fmla="*/ 198215 w 3043999"/>
              <a:gd name="connsiteY20" fmla="*/ 2280952 h 3052952"/>
              <a:gd name="connsiteX21" fmla="*/ 339090 w 3043999"/>
              <a:gd name="connsiteY21" fmla="*/ 2255996 h 3052952"/>
              <a:gd name="connsiteX22" fmla="*/ 567214 w 3043999"/>
              <a:gd name="connsiteY22" fmla="*/ 2537841 h 3052952"/>
              <a:gd name="connsiteX23" fmla="*/ 513874 w 3043999"/>
              <a:gd name="connsiteY23" fmla="*/ 2670905 h 3052952"/>
              <a:gd name="connsiteX24" fmla="*/ 750951 w 3043999"/>
              <a:gd name="connsiteY24" fmla="*/ 2843784 h 3052952"/>
              <a:gd name="connsiteX25" fmla="*/ 860870 w 3043999"/>
              <a:gd name="connsiteY25" fmla="*/ 2751201 h 3052952"/>
              <a:gd name="connsiteX26" fmla="*/ 1199007 w 3043999"/>
              <a:gd name="connsiteY26" fmla="*/ 2880836 h 3052952"/>
              <a:gd name="connsiteX27" fmla="*/ 1219105 w 3043999"/>
              <a:gd name="connsiteY27" fmla="*/ 3022664 h 3052952"/>
              <a:gd name="connsiteX28" fmla="*/ 1364266 w 3043999"/>
              <a:gd name="connsiteY28" fmla="*/ 3044762 h 3052952"/>
              <a:gd name="connsiteX29" fmla="*/ 1510856 w 3043999"/>
              <a:gd name="connsiteY29" fmla="*/ 3052953 h 3052952"/>
              <a:gd name="connsiteX30" fmla="*/ 1559719 w 3043999"/>
              <a:gd name="connsiteY30" fmla="*/ 2918270 h 3052952"/>
              <a:gd name="connsiteX31" fmla="*/ 1917287 w 3043999"/>
              <a:gd name="connsiteY31" fmla="*/ 2860929 h 3052952"/>
              <a:gd name="connsiteX32" fmla="*/ 2005775 w 3043999"/>
              <a:gd name="connsiteY32" fmla="*/ 2974086 h 3052952"/>
              <a:gd name="connsiteX33" fmla="*/ 2273332 w 3043999"/>
              <a:gd name="connsiteY33" fmla="*/ 2853690 h 3052952"/>
              <a:gd name="connsiteX34" fmla="*/ 2248472 w 3043999"/>
              <a:gd name="connsiteY34" fmla="*/ 2712434 h 3052952"/>
              <a:gd name="connsiteX35" fmla="*/ 2529650 w 3043999"/>
              <a:gd name="connsiteY35" fmla="*/ 2483549 h 3052952"/>
              <a:gd name="connsiteX36" fmla="*/ 2662333 w 3043999"/>
              <a:gd name="connsiteY36" fmla="*/ 2536984 h 3052952"/>
              <a:gd name="connsiteX37" fmla="*/ 2834831 w 3043999"/>
              <a:gd name="connsiteY37" fmla="*/ 2299049 h 3052952"/>
              <a:gd name="connsiteX38" fmla="*/ 2742629 w 3043999"/>
              <a:gd name="connsiteY38" fmla="*/ 2188845 h 3052952"/>
              <a:gd name="connsiteX39" fmla="*/ 2872074 w 3043999"/>
              <a:gd name="connsiteY39" fmla="*/ 1849660 h 3052952"/>
              <a:gd name="connsiteX40" fmla="*/ 3013520 w 3043999"/>
              <a:gd name="connsiteY40" fmla="*/ 1829372 h 3052952"/>
              <a:gd name="connsiteX41" fmla="*/ 3035713 w 3043999"/>
              <a:gd name="connsiteY41" fmla="*/ 1683734 h 3052952"/>
              <a:gd name="connsiteX42" fmla="*/ 3044000 w 3043999"/>
              <a:gd name="connsiteY42" fmla="*/ 1536668 h 3052952"/>
              <a:gd name="connsiteX43" fmla="*/ 2909792 w 3043999"/>
              <a:gd name="connsiteY43" fmla="*/ 1487710 h 3052952"/>
              <a:gd name="connsiteX44" fmla="*/ 2852833 w 3043999"/>
              <a:gd name="connsiteY44" fmla="*/ 1129189 h 3052952"/>
              <a:gd name="connsiteX45" fmla="*/ 2965704 w 3043999"/>
              <a:gd name="connsiteY45" fmla="*/ 1040321 h 3052952"/>
              <a:gd name="connsiteX46" fmla="*/ 2845785 w 3043999"/>
              <a:gd name="connsiteY46" fmla="*/ 772001 h 3052952"/>
              <a:gd name="connsiteX47" fmla="*/ 2704909 w 3043999"/>
              <a:gd name="connsiteY47" fmla="*/ 796957 h 3052952"/>
              <a:gd name="connsiteX48" fmla="*/ 2476786 w 3043999"/>
              <a:gd name="connsiteY48" fmla="*/ 515112 h 3052952"/>
              <a:gd name="connsiteX49" fmla="*/ 2530126 w 3043999"/>
              <a:gd name="connsiteY49" fmla="*/ 382048 h 3052952"/>
              <a:gd name="connsiteX50" fmla="*/ 2293049 w 3043999"/>
              <a:gd name="connsiteY50" fmla="*/ 209169 h 3052952"/>
              <a:gd name="connsiteX51" fmla="*/ 2183130 w 3043999"/>
              <a:gd name="connsiteY51" fmla="*/ 301752 h 3052952"/>
              <a:gd name="connsiteX52" fmla="*/ 1844993 w 3043999"/>
              <a:gd name="connsiteY52" fmla="*/ 172117 h 3052952"/>
              <a:gd name="connsiteX53" fmla="*/ 2609088 w 3043999"/>
              <a:gd name="connsiteY53" fmla="*/ 1639348 h 3052952"/>
              <a:gd name="connsiteX54" fmla="*/ 1408557 w 3043999"/>
              <a:gd name="connsiteY54" fmla="*/ 2616899 h 3052952"/>
              <a:gd name="connsiteX55" fmla="*/ 434626 w 3043999"/>
              <a:gd name="connsiteY55" fmla="*/ 1413415 h 3052952"/>
              <a:gd name="connsiteX56" fmla="*/ 1635157 w 3043999"/>
              <a:gd name="connsiteY56" fmla="*/ 435864 h 3052952"/>
              <a:gd name="connsiteX57" fmla="*/ 2609088 w 3043999"/>
              <a:gd name="connsiteY57" fmla="*/ 1639348 h 3052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043999" h="3052952">
                <a:moveTo>
                  <a:pt x="1844993" y="172117"/>
                </a:moveTo>
                <a:lnTo>
                  <a:pt x="1824895" y="30290"/>
                </a:lnTo>
                <a:cubicBezTo>
                  <a:pt x="1777175" y="20669"/>
                  <a:pt x="1728788" y="13240"/>
                  <a:pt x="1679734" y="8192"/>
                </a:cubicBezTo>
                <a:cubicBezTo>
                  <a:pt x="1630680" y="3143"/>
                  <a:pt x="1581817" y="381"/>
                  <a:pt x="1533144" y="0"/>
                </a:cubicBezTo>
                <a:lnTo>
                  <a:pt x="1484281" y="134684"/>
                </a:lnTo>
                <a:cubicBezTo>
                  <a:pt x="1428750" y="287846"/>
                  <a:pt x="1227011" y="320135"/>
                  <a:pt x="1126712" y="192024"/>
                </a:cubicBezTo>
                <a:lnTo>
                  <a:pt x="1038225" y="78867"/>
                </a:lnTo>
                <a:cubicBezTo>
                  <a:pt x="945737" y="110014"/>
                  <a:pt x="856202" y="150305"/>
                  <a:pt x="770668" y="199263"/>
                </a:cubicBezTo>
                <a:lnTo>
                  <a:pt x="795528" y="340519"/>
                </a:lnTo>
                <a:cubicBezTo>
                  <a:pt x="823722" y="501015"/>
                  <a:pt x="665131" y="630174"/>
                  <a:pt x="514350" y="569405"/>
                </a:cubicBezTo>
                <a:lnTo>
                  <a:pt x="381667" y="515969"/>
                </a:lnTo>
                <a:cubicBezTo>
                  <a:pt x="316230" y="589883"/>
                  <a:pt x="258604" y="669512"/>
                  <a:pt x="209169" y="753904"/>
                </a:cubicBezTo>
                <a:lnTo>
                  <a:pt x="301371" y="864108"/>
                </a:lnTo>
                <a:cubicBezTo>
                  <a:pt x="405765" y="988886"/>
                  <a:pt x="332804" y="1180243"/>
                  <a:pt x="171926" y="1203293"/>
                </a:cubicBezTo>
                <a:lnTo>
                  <a:pt x="30480" y="1223582"/>
                </a:lnTo>
                <a:cubicBezTo>
                  <a:pt x="20860" y="1271492"/>
                  <a:pt x="13430" y="1320070"/>
                  <a:pt x="8287" y="1369219"/>
                </a:cubicBezTo>
                <a:cubicBezTo>
                  <a:pt x="3143" y="1418368"/>
                  <a:pt x="476" y="1467422"/>
                  <a:pt x="0" y="1516285"/>
                </a:cubicBezTo>
                <a:lnTo>
                  <a:pt x="134207" y="1565243"/>
                </a:lnTo>
                <a:cubicBezTo>
                  <a:pt x="286893" y="1620869"/>
                  <a:pt x="318992" y="1823180"/>
                  <a:pt x="191167" y="1923764"/>
                </a:cubicBezTo>
                <a:lnTo>
                  <a:pt x="78296" y="2012633"/>
                </a:lnTo>
                <a:cubicBezTo>
                  <a:pt x="109347" y="2105311"/>
                  <a:pt x="149352" y="2195132"/>
                  <a:pt x="198215" y="2280952"/>
                </a:cubicBezTo>
                <a:lnTo>
                  <a:pt x="339090" y="2255996"/>
                </a:lnTo>
                <a:cubicBezTo>
                  <a:pt x="499110" y="2227612"/>
                  <a:pt x="627793" y="2386584"/>
                  <a:pt x="567214" y="2537841"/>
                </a:cubicBezTo>
                <a:lnTo>
                  <a:pt x="513874" y="2670905"/>
                </a:lnTo>
                <a:cubicBezTo>
                  <a:pt x="587502" y="2736437"/>
                  <a:pt x="666845" y="2794254"/>
                  <a:pt x="750951" y="2843784"/>
                </a:cubicBezTo>
                <a:lnTo>
                  <a:pt x="860870" y="2751201"/>
                </a:lnTo>
                <a:cubicBezTo>
                  <a:pt x="985361" y="2646426"/>
                  <a:pt x="1176052" y="2719483"/>
                  <a:pt x="1199007" y="2880836"/>
                </a:cubicBezTo>
                <a:lnTo>
                  <a:pt x="1219105" y="3022664"/>
                </a:lnTo>
                <a:cubicBezTo>
                  <a:pt x="1266825" y="3032284"/>
                  <a:pt x="1315212" y="3039713"/>
                  <a:pt x="1364266" y="3044762"/>
                </a:cubicBezTo>
                <a:cubicBezTo>
                  <a:pt x="1413320" y="3049810"/>
                  <a:pt x="1462183" y="3052572"/>
                  <a:pt x="1510856" y="3052953"/>
                </a:cubicBezTo>
                <a:lnTo>
                  <a:pt x="1559719" y="2918270"/>
                </a:lnTo>
                <a:cubicBezTo>
                  <a:pt x="1615250" y="2765108"/>
                  <a:pt x="1816989" y="2732818"/>
                  <a:pt x="1917287" y="2860929"/>
                </a:cubicBezTo>
                <a:lnTo>
                  <a:pt x="2005775" y="2974086"/>
                </a:lnTo>
                <a:cubicBezTo>
                  <a:pt x="2098262" y="2942939"/>
                  <a:pt x="2187797" y="2902649"/>
                  <a:pt x="2273332" y="2853690"/>
                </a:cubicBezTo>
                <a:lnTo>
                  <a:pt x="2248472" y="2712434"/>
                </a:lnTo>
                <a:cubicBezTo>
                  <a:pt x="2220277" y="2551938"/>
                  <a:pt x="2378869" y="2422779"/>
                  <a:pt x="2529650" y="2483549"/>
                </a:cubicBezTo>
                <a:lnTo>
                  <a:pt x="2662333" y="2536984"/>
                </a:lnTo>
                <a:cubicBezTo>
                  <a:pt x="2727770" y="2463070"/>
                  <a:pt x="2785396" y="2383441"/>
                  <a:pt x="2834831" y="2299049"/>
                </a:cubicBezTo>
                <a:lnTo>
                  <a:pt x="2742629" y="2188845"/>
                </a:lnTo>
                <a:cubicBezTo>
                  <a:pt x="2638234" y="2064068"/>
                  <a:pt x="2711196" y="1872710"/>
                  <a:pt x="2872074" y="1849660"/>
                </a:cubicBezTo>
                <a:lnTo>
                  <a:pt x="3013520" y="1829372"/>
                </a:lnTo>
                <a:cubicBezTo>
                  <a:pt x="3023140" y="1781461"/>
                  <a:pt x="3030569" y="1732979"/>
                  <a:pt x="3035713" y="1683734"/>
                </a:cubicBezTo>
                <a:cubicBezTo>
                  <a:pt x="3040856" y="1634585"/>
                  <a:pt x="3043524" y="1585532"/>
                  <a:pt x="3044000" y="1536668"/>
                </a:cubicBezTo>
                <a:lnTo>
                  <a:pt x="2909792" y="1487710"/>
                </a:lnTo>
                <a:cubicBezTo>
                  <a:pt x="2757107" y="1432084"/>
                  <a:pt x="2725008" y="1229773"/>
                  <a:pt x="2852833" y="1129189"/>
                </a:cubicBezTo>
                <a:lnTo>
                  <a:pt x="2965704" y="1040321"/>
                </a:lnTo>
                <a:cubicBezTo>
                  <a:pt x="2934652" y="947642"/>
                  <a:pt x="2894648" y="857822"/>
                  <a:pt x="2845785" y="772001"/>
                </a:cubicBezTo>
                <a:lnTo>
                  <a:pt x="2704909" y="796957"/>
                </a:lnTo>
                <a:cubicBezTo>
                  <a:pt x="2544890" y="825341"/>
                  <a:pt x="2416207" y="666369"/>
                  <a:pt x="2476786" y="515112"/>
                </a:cubicBezTo>
                <a:lnTo>
                  <a:pt x="2530126" y="382048"/>
                </a:lnTo>
                <a:cubicBezTo>
                  <a:pt x="2456498" y="316516"/>
                  <a:pt x="2377154" y="258699"/>
                  <a:pt x="2293049" y="209169"/>
                </a:cubicBezTo>
                <a:lnTo>
                  <a:pt x="2183130" y="301752"/>
                </a:lnTo>
                <a:cubicBezTo>
                  <a:pt x="2058638" y="406527"/>
                  <a:pt x="1867948" y="333470"/>
                  <a:pt x="1844993" y="172117"/>
                </a:cubicBezTo>
                <a:close/>
                <a:moveTo>
                  <a:pt x="2609088" y="1639348"/>
                </a:moveTo>
                <a:cubicBezTo>
                  <a:pt x="2546509" y="2241614"/>
                  <a:pt x="2009013" y="2679287"/>
                  <a:pt x="1408557" y="2616899"/>
                </a:cubicBezTo>
                <a:cubicBezTo>
                  <a:pt x="808101" y="2554510"/>
                  <a:pt x="372046" y="2015681"/>
                  <a:pt x="434626" y="1413415"/>
                </a:cubicBezTo>
                <a:cubicBezTo>
                  <a:pt x="497205" y="811149"/>
                  <a:pt x="1034701" y="373475"/>
                  <a:pt x="1635157" y="435864"/>
                </a:cubicBezTo>
                <a:cubicBezTo>
                  <a:pt x="2235613" y="498253"/>
                  <a:pt x="2671667" y="1037082"/>
                  <a:pt x="2609088" y="1639348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Freihandform: Form 7">
            <a:extLst>
              <a:ext uri="{FF2B5EF4-FFF2-40B4-BE49-F238E27FC236}">
                <a16:creationId xmlns:a16="http://schemas.microsoft.com/office/drawing/2014/main" id="{B3D901F2-1630-DBE4-04BA-C96846F3C0D4}"/>
              </a:ext>
            </a:extLst>
          </p:cNvPr>
          <p:cNvSpPr>
            <a:spLocks/>
          </p:cNvSpPr>
          <p:nvPr/>
        </p:nvSpPr>
        <p:spPr>
          <a:xfrm>
            <a:off x="2102036" y="3389378"/>
            <a:ext cx="2065672" cy="2105899"/>
          </a:xfrm>
          <a:custGeom>
            <a:avLst/>
            <a:gdLst>
              <a:gd name="connsiteX0" fmla="*/ 2545651 w 2643377"/>
              <a:gd name="connsiteY0" fmla="*/ 1911943 h 2694854"/>
              <a:gd name="connsiteX1" fmla="*/ 2603373 w 2643377"/>
              <a:gd name="connsiteY1" fmla="*/ 1764401 h 2694854"/>
              <a:gd name="connsiteX2" fmla="*/ 2642235 w 2643377"/>
              <a:gd name="connsiteY2" fmla="*/ 1615715 h 2694854"/>
              <a:gd name="connsiteX3" fmla="*/ 2406396 w 2643377"/>
              <a:gd name="connsiteY3" fmla="*/ 1483604 h 2694854"/>
              <a:gd name="connsiteX4" fmla="*/ 2407063 w 2643377"/>
              <a:gd name="connsiteY4" fmla="*/ 1215570 h 2694854"/>
              <a:gd name="connsiteX5" fmla="*/ 2643378 w 2643377"/>
              <a:gd name="connsiteY5" fmla="*/ 1084316 h 2694854"/>
              <a:gd name="connsiteX6" fmla="*/ 2547842 w 2643377"/>
              <a:gd name="connsiteY6" fmla="*/ 787803 h 2694854"/>
              <a:gd name="connsiteX7" fmla="*/ 2279237 w 2643377"/>
              <a:gd name="connsiteY7" fmla="*/ 819902 h 2694854"/>
              <a:gd name="connsiteX8" fmla="*/ 2121884 w 2643377"/>
              <a:gd name="connsiteY8" fmla="*/ 602827 h 2694854"/>
              <a:gd name="connsiteX9" fmla="*/ 2235994 w 2643377"/>
              <a:gd name="connsiteY9" fmla="*/ 357368 h 2694854"/>
              <a:gd name="connsiteX10" fmla="*/ 1992154 w 2643377"/>
              <a:gd name="connsiteY10" fmla="*/ 178488 h 2694854"/>
              <a:gd name="connsiteX11" fmla="*/ 1792510 w 2643377"/>
              <a:gd name="connsiteY11" fmla="*/ 361559 h 2694854"/>
              <a:gd name="connsiteX12" fmla="*/ 1538192 w 2643377"/>
              <a:gd name="connsiteY12" fmla="*/ 276405 h 2694854"/>
              <a:gd name="connsiteX13" fmla="*/ 1487900 w 2643377"/>
              <a:gd name="connsiteY13" fmla="*/ 10182 h 2694854"/>
              <a:gd name="connsiteX14" fmla="*/ 1176147 w 2643377"/>
              <a:gd name="connsiteY14" fmla="*/ 8086 h 2694854"/>
              <a:gd name="connsiteX15" fmla="*/ 1122331 w 2643377"/>
              <a:gd name="connsiteY15" fmla="*/ 273357 h 2694854"/>
              <a:gd name="connsiteX16" fmla="*/ 866584 w 2643377"/>
              <a:gd name="connsiteY16" fmla="*/ 354320 h 2694854"/>
              <a:gd name="connsiteX17" fmla="*/ 669417 w 2643377"/>
              <a:gd name="connsiteY17" fmla="*/ 169154 h 2694854"/>
              <a:gd name="connsiteX18" fmla="*/ 416338 w 2643377"/>
              <a:gd name="connsiteY18" fmla="*/ 350700 h 2694854"/>
              <a:gd name="connsiteX19" fmla="*/ 528447 w 2643377"/>
              <a:gd name="connsiteY19" fmla="*/ 596540 h 2694854"/>
              <a:gd name="connsiteX20" fmla="*/ 369570 w 2643377"/>
              <a:gd name="connsiteY20" fmla="*/ 812377 h 2694854"/>
              <a:gd name="connsiteX21" fmla="*/ 101155 w 2643377"/>
              <a:gd name="connsiteY21" fmla="*/ 778659 h 2694854"/>
              <a:gd name="connsiteX22" fmla="*/ 41148 w 2643377"/>
              <a:gd name="connsiteY22" fmla="*/ 930011 h 2694854"/>
              <a:gd name="connsiteX23" fmla="*/ 3143 w 2643377"/>
              <a:gd name="connsiteY23" fmla="*/ 1074219 h 2694854"/>
              <a:gd name="connsiteX24" fmla="*/ 238792 w 2643377"/>
              <a:gd name="connsiteY24" fmla="*/ 1207093 h 2694854"/>
              <a:gd name="connsiteX25" fmla="*/ 237268 w 2643377"/>
              <a:gd name="connsiteY25" fmla="*/ 1475127 h 2694854"/>
              <a:gd name="connsiteX26" fmla="*/ 0 w 2643377"/>
              <a:gd name="connsiteY26" fmla="*/ 1605524 h 2694854"/>
              <a:gd name="connsiteX27" fmla="*/ 95059 w 2643377"/>
              <a:gd name="connsiteY27" fmla="*/ 1903085 h 2694854"/>
              <a:gd name="connsiteX28" fmla="*/ 363855 w 2643377"/>
              <a:gd name="connsiteY28" fmla="*/ 1871938 h 2694854"/>
              <a:gd name="connsiteX29" fmla="*/ 520541 w 2643377"/>
              <a:gd name="connsiteY29" fmla="*/ 2089489 h 2694854"/>
              <a:gd name="connsiteX30" fmla="*/ 405384 w 2643377"/>
              <a:gd name="connsiteY30" fmla="*/ 2334663 h 2694854"/>
              <a:gd name="connsiteX31" fmla="*/ 656654 w 2643377"/>
              <a:gd name="connsiteY31" fmla="*/ 2519067 h 2694854"/>
              <a:gd name="connsiteX32" fmla="*/ 855821 w 2643377"/>
              <a:gd name="connsiteY32" fmla="*/ 2335234 h 2694854"/>
              <a:gd name="connsiteX33" fmla="*/ 1110520 w 2643377"/>
              <a:gd name="connsiteY33" fmla="*/ 2419340 h 2694854"/>
              <a:gd name="connsiteX34" fmla="*/ 1161383 w 2643377"/>
              <a:gd name="connsiteY34" fmla="*/ 2685373 h 2694854"/>
              <a:gd name="connsiteX35" fmla="*/ 1473327 w 2643377"/>
              <a:gd name="connsiteY35" fmla="*/ 2686326 h 2694854"/>
              <a:gd name="connsiteX36" fmla="*/ 1526286 w 2643377"/>
              <a:gd name="connsiteY36" fmla="*/ 2420864 h 2694854"/>
              <a:gd name="connsiteX37" fmla="*/ 1781651 w 2643377"/>
              <a:gd name="connsiteY37" fmla="*/ 2338758 h 2694854"/>
              <a:gd name="connsiteX38" fmla="*/ 1979295 w 2643377"/>
              <a:gd name="connsiteY38" fmla="*/ 2523353 h 2694854"/>
              <a:gd name="connsiteX39" fmla="*/ 2232089 w 2643377"/>
              <a:gd name="connsiteY39" fmla="*/ 2341140 h 2694854"/>
              <a:gd name="connsiteX40" fmla="*/ 2118646 w 2643377"/>
              <a:gd name="connsiteY40" fmla="*/ 2095585 h 2694854"/>
              <a:gd name="connsiteX41" fmla="*/ 2276856 w 2643377"/>
              <a:gd name="connsiteY41" fmla="*/ 1878701 h 2694854"/>
              <a:gd name="connsiteX42" fmla="*/ 2545556 w 2643377"/>
              <a:gd name="connsiteY42" fmla="*/ 1912038 h 2694854"/>
              <a:gd name="connsiteX43" fmla="*/ 1032034 w 2643377"/>
              <a:gd name="connsiteY43" fmla="*/ 2151211 h 2694854"/>
              <a:gd name="connsiteX44" fmla="*/ 518636 w 2643377"/>
              <a:gd name="connsiteY44" fmla="*/ 1057646 h 2694854"/>
              <a:gd name="connsiteX45" fmla="*/ 1612106 w 2643377"/>
              <a:gd name="connsiteY45" fmla="*/ 544248 h 2694854"/>
              <a:gd name="connsiteX46" fmla="*/ 2125504 w 2643377"/>
              <a:gd name="connsiteY46" fmla="*/ 1637814 h 2694854"/>
              <a:gd name="connsiteX47" fmla="*/ 1031938 w 2643377"/>
              <a:gd name="connsiteY47" fmla="*/ 2151211 h 269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643377" h="2694854">
                <a:moveTo>
                  <a:pt x="2545651" y="1911943"/>
                </a:moveTo>
                <a:cubicBezTo>
                  <a:pt x="2567369" y="1864223"/>
                  <a:pt x="2587085" y="1815074"/>
                  <a:pt x="2603373" y="1764401"/>
                </a:cubicBezTo>
                <a:cubicBezTo>
                  <a:pt x="2619566" y="1715157"/>
                  <a:pt x="2632329" y="1665341"/>
                  <a:pt x="2642235" y="1615715"/>
                </a:cubicBezTo>
                <a:lnTo>
                  <a:pt x="2406396" y="1483604"/>
                </a:lnTo>
                <a:lnTo>
                  <a:pt x="2407063" y="1215570"/>
                </a:lnTo>
                <a:lnTo>
                  <a:pt x="2643378" y="1084316"/>
                </a:lnTo>
                <a:cubicBezTo>
                  <a:pt x="2623090" y="981636"/>
                  <a:pt x="2590800" y="882290"/>
                  <a:pt x="2547842" y="787803"/>
                </a:cubicBezTo>
                <a:lnTo>
                  <a:pt x="2279237" y="819902"/>
                </a:lnTo>
                <a:lnTo>
                  <a:pt x="2121884" y="602827"/>
                </a:lnTo>
                <a:lnTo>
                  <a:pt x="2235994" y="357368"/>
                </a:lnTo>
                <a:cubicBezTo>
                  <a:pt x="2162651" y="289645"/>
                  <a:pt x="2081117" y="229257"/>
                  <a:pt x="1992154" y="178488"/>
                </a:cubicBezTo>
                <a:lnTo>
                  <a:pt x="1792510" y="361559"/>
                </a:lnTo>
                <a:lnTo>
                  <a:pt x="1538192" y="276405"/>
                </a:lnTo>
                <a:lnTo>
                  <a:pt x="1487900" y="10182"/>
                </a:lnTo>
                <a:cubicBezTo>
                  <a:pt x="1383030" y="-2772"/>
                  <a:pt x="1278446" y="-3249"/>
                  <a:pt x="1176147" y="8086"/>
                </a:cubicBezTo>
                <a:lnTo>
                  <a:pt x="1122331" y="273357"/>
                </a:lnTo>
                <a:lnTo>
                  <a:pt x="866584" y="354320"/>
                </a:lnTo>
                <a:lnTo>
                  <a:pt x="669417" y="169154"/>
                </a:lnTo>
                <a:cubicBezTo>
                  <a:pt x="578834" y="219351"/>
                  <a:pt x="493776" y="280025"/>
                  <a:pt x="416338" y="350700"/>
                </a:cubicBezTo>
                <a:lnTo>
                  <a:pt x="528447" y="596540"/>
                </a:lnTo>
                <a:lnTo>
                  <a:pt x="369570" y="812377"/>
                </a:lnTo>
                <a:lnTo>
                  <a:pt x="101155" y="778659"/>
                </a:lnTo>
                <a:cubicBezTo>
                  <a:pt x="78676" y="827046"/>
                  <a:pt x="58293" y="877433"/>
                  <a:pt x="41148" y="930011"/>
                </a:cubicBezTo>
                <a:cubicBezTo>
                  <a:pt x="25813" y="978017"/>
                  <a:pt x="13240" y="1026023"/>
                  <a:pt x="3143" y="1074219"/>
                </a:cubicBezTo>
                <a:lnTo>
                  <a:pt x="238792" y="1207093"/>
                </a:lnTo>
                <a:lnTo>
                  <a:pt x="237268" y="1475127"/>
                </a:lnTo>
                <a:lnTo>
                  <a:pt x="0" y="1605524"/>
                </a:lnTo>
                <a:cubicBezTo>
                  <a:pt x="20383" y="1708298"/>
                  <a:pt x="52102" y="1808406"/>
                  <a:pt x="95059" y="1903085"/>
                </a:cubicBezTo>
                <a:lnTo>
                  <a:pt x="363855" y="1871938"/>
                </a:lnTo>
                <a:lnTo>
                  <a:pt x="520541" y="2089489"/>
                </a:lnTo>
                <a:lnTo>
                  <a:pt x="405384" y="2334663"/>
                </a:lnTo>
                <a:cubicBezTo>
                  <a:pt x="481013" y="2404671"/>
                  <a:pt x="564832" y="2467060"/>
                  <a:pt x="656654" y="2519067"/>
                </a:cubicBezTo>
                <a:lnTo>
                  <a:pt x="855821" y="2335234"/>
                </a:lnTo>
                <a:lnTo>
                  <a:pt x="1110520" y="2419340"/>
                </a:lnTo>
                <a:lnTo>
                  <a:pt x="1161383" y="2685373"/>
                </a:lnTo>
                <a:cubicBezTo>
                  <a:pt x="1266349" y="2697851"/>
                  <a:pt x="1370933" y="2697851"/>
                  <a:pt x="1473327" y="2686326"/>
                </a:cubicBezTo>
                <a:lnTo>
                  <a:pt x="1526286" y="2420864"/>
                </a:lnTo>
                <a:lnTo>
                  <a:pt x="1781651" y="2338758"/>
                </a:lnTo>
                <a:lnTo>
                  <a:pt x="1979295" y="2523353"/>
                </a:lnTo>
                <a:cubicBezTo>
                  <a:pt x="2070068" y="2472585"/>
                  <a:pt x="2155126" y="2411720"/>
                  <a:pt x="2232089" y="2341140"/>
                </a:cubicBezTo>
                <a:lnTo>
                  <a:pt x="2118646" y="2095585"/>
                </a:lnTo>
                <a:lnTo>
                  <a:pt x="2276856" y="1878701"/>
                </a:lnTo>
                <a:lnTo>
                  <a:pt x="2545556" y="1912038"/>
                </a:lnTo>
                <a:close/>
                <a:moveTo>
                  <a:pt x="1032034" y="2151211"/>
                </a:moveTo>
                <a:cubicBezTo>
                  <a:pt x="588264" y="1991001"/>
                  <a:pt x="358426" y="1501415"/>
                  <a:pt x="518636" y="1057646"/>
                </a:cubicBezTo>
                <a:cubicBezTo>
                  <a:pt x="678847" y="613876"/>
                  <a:pt x="1168432" y="384038"/>
                  <a:pt x="1612106" y="544248"/>
                </a:cubicBezTo>
                <a:cubicBezTo>
                  <a:pt x="2055876" y="704459"/>
                  <a:pt x="2285714" y="1194044"/>
                  <a:pt x="2125504" y="1637814"/>
                </a:cubicBezTo>
                <a:cubicBezTo>
                  <a:pt x="1965293" y="2081583"/>
                  <a:pt x="1475708" y="2311422"/>
                  <a:pt x="1031938" y="2151211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reihandform: Form 8">
            <a:extLst>
              <a:ext uri="{FF2B5EF4-FFF2-40B4-BE49-F238E27FC236}">
                <a16:creationId xmlns:a16="http://schemas.microsoft.com/office/drawing/2014/main" id="{D864D443-9B76-CDEE-C1D9-10D9F210541A}"/>
              </a:ext>
            </a:extLst>
          </p:cNvPr>
          <p:cNvSpPr>
            <a:spLocks/>
          </p:cNvSpPr>
          <p:nvPr/>
        </p:nvSpPr>
        <p:spPr>
          <a:xfrm>
            <a:off x="419100" y="3451770"/>
            <a:ext cx="1720749" cy="1725810"/>
          </a:xfrm>
          <a:custGeom>
            <a:avLst/>
            <a:gdLst>
              <a:gd name="connsiteX0" fmla="*/ 1334643 w 2201989"/>
              <a:gd name="connsiteY0" fmla="*/ 124492 h 2208466"/>
              <a:gd name="connsiteX1" fmla="*/ 1320070 w 2201989"/>
              <a:gd name="connsiteY1" fmla="*/ 21907 h 2208466"/>
              <a:gd name="connsiteX2" fmla="*/ 1215009 w 2201989"/>
              <a:gd name="connsiteY2" fmla="*/ 5905 h 2208466"/>
              <a:gd name="connsiteX3" fmla="*/ 1108901 w 2201989"/>
              <a:gd name="connsiteY3" fmla="*/ 0 h 2208466"/>
              <a:gd name="connsiteX4" fmla="*/ 1073563 w 2201989"/>
              <a:gd name="connsiteY4" fmla="*/ 97441 h 2208466"/>
              <a:gd name="connsiteX5" fmla="*/ 814959 w 2201989"/>
              <a:gd name="connsiteY5" fmla="*/ 138875 h 2208466"/>
              <a:gd name="connsiteX6" fmla="*/ 750951 w 2201989"/>
              <a:gd name="connsiteY6" fmla="*/ 56959 h 2208466"/>
              <a:gd name="connsiteX7" fmla="*/ 557403 w 2201989"/>
              <a:gd name="connsiteY7" fmla="*/ 144113 h 2208466"/>
              <a:gd name="connsiteX8" fmla="*/ 575405 w 2201989"/>
              <a:gd name="connsiteY8" fmla="*/ 246317 h 2208466"/>
              <a:gd name="connsiteX9" fmla="*/ 372047 w 2201989"/>
              <a:gd name="connsiteY9" fmla="*/ 411956 h 2208466"/>
              <a:gd name="connsiteX10" fmla="*/ 276035 w 2201989"/>
              <a:gd name="connsiteY10" fmla="*/ 373285 h 2208466"/>
              <a:gd name="connsiteX11" fmla="*/ 151257 w 2201989"/>
              <a:gd name="connsiteY11" fmla="*/ 545401 h 2208466"/>
              <a:gd name="connsiteX12" fmla="*/ 217932 w 2201989"/>
              <a:gd name="connsiteY12" fmla="*/ 625126 h 2208466"/>
              <a:gd name="connsiteX13" fmla="*/ 124301 w 2201989"/>
              <a:gd name="connsiteY13" fmla="*/ 870490 h 2208466"/>
              <a:gd name="connsiteX14" fmla="*/ 22003 w 2201989"/>
              <a:gd name="connsiteY14" fmla="*/ 885158 h 2208466"/>
              <a:gd name="connsiteX15" fmla="*/ 6001 w 2201989"/>
              <a:gd name="connsiteY15" fmla="*/ 990505 h 2208466"/>
              <a:gd name="connsiteX16" fmla="*/ 0 w 2201989"/>
              <a:gd name="connsiteY16" fmla="*/ 1096899 h 2208466"/>
              <a:gd name="connsiteX17" fmla="*/ 97060 w 2201989"/>
              <a:gd name="connsiteY17" fmla="*/ 1132332 h 2208466"/>
              <a:gd name="connsiteX18" fmla="*/ 138208 w 2201989"/>
              <a:gd name="connsiteY18" fmla="*/ 1391698 h 2208466"/>
              <a:gd name="connsiteX19" fmla="*/ 56579 w 2201989"/>
              <a:gd name="connsiteY19" fmla="*/ 1455992 h 2208466"/>
              <a:gd name="connsiteX20" fmla="*/ 143351 w 2201989"/>
              <a:gd name="connsiteY20" fmla="*/ 1650016 h 2208466"/>
              <a:gd name="connsiteX21" fmla="*/ 245269 w 2201989"/>
              <a:gd name="connsiteY21" fmla="*/ 1631918 h 2208466"/>
              <a:gd name="connsiteX22" fmla="*/ 410242 w 2201989"/>
              <a:gd name="connsiteY22" fmla="*/ 1835849 h 2208466"/>
              <a:gd name="connsiteX23" fmla="*/ 371666 w 2201989"/>
              <a:gd name="connsiteY23" fmla="*/ 1932146 h 2208466"/>
              <a:gd name="connsiteX24" fmla="*/ 543211 w 2201989"/>
              <a:gd name="connsiteY24" fmla="*/ 2057210 h 2208466"/>
              <a:gd name="connsiteX25" fmla="*/ 622745 w 2201989"/>
              <a:gd name="connsiteY25" fmla="*/ 1990249 h 2208466"/>
              <a:gd name="connsiteX26" fmla="*/ 867347 w 2201989"/>
              <a:gd name="connsiteY26" fmla="*/ 2083975 h 2208466"/>
              <a:gd name="connsiteX27" fmla="*/ 881920 w 2201989"/>
              <a:gd name="connsiteY27" fmla="*/ 2186559 h 2208466"/>
              <a:gd name="connsiteX28" fmla="*/ 986981 w 2201989"/>
              <a:gd name="connsiteY28" fmla="*/ 2202561 h 2208466"/>
              <a:gd name="connsiteX29" fmla="*/ 1093089 w 2201989"/>
              <a:gd name="connsiteY29" fmla="*/ 2208467 h 2208466"/>
              <a:gd name="connsiteX30" fmla="*/ 1128427 w 2201989"/>
              <a:gd name="connsiteY30" fmla="*/ 2111026 h 2208466"/>
              <a:gd name="connsiteX31" fmla="*/ 1387031 w 2201989"/>
              <a:gd name="connsiteY31" fmla="*/ 2069592 h 2208466"/>
              <a:gd name="connsiteX32" fmla="*/ 1451039 w 2201989"/>
              <a:gd name="connsiteY32" fmla="*/ 2151507 h 2208466"/>
              <a:gd name="connsiteX33" fmla="*/ 1644587 w 2201989"/>
              <a:gd name="connsiteY33" fmla="*/ 2064353 h 2208466"/>
              <a:gd name="connsiteX34" fmla="*/ 1626584 w 2201989"/>
              <a:gd name="connsiteY34" fmla="*/ 1962150 h 2208466"/>
              <a:gd name="connsiteX35" fmla="*/ 1829943 w 2201989"/>
              <a:gd name="connsiteY35" fmla="*/ 1796510 h 2208466"/>
              <a:gd name="connsiteX36" fmla="*/ 1925955 w 2201989"/>
              <a:gd name="connsiteY36" fmla="*/ 1835182 h 2208466"/>
              <a:gd name="connsiteX37" fmla="*/ 2050733 w 2201989"/>
              <a:gd name="connsiteY37" fmla="*/ 1663065 h 2208466"/>
              <a:gd name="connsiteX38" fmla="*/ 1984058 w 2201989"/>
              <a:gd name="connsiteY38" fmla="*/ 1583341 h 2208466"/>
              <a:gd name="connsiteX39" fmla="*/ 2077688 w 2201989"/>
              <a:gd name="connsiteY39" fmla="*/ 1337977 h 2208466"/>
              <a:gd name="connsiteX40" fmla="*/ 2179987 w 2201989"/>
              <a:gd name="connsiteY40" fmla="*/ 1323308 h 2208466"/>
              <a:gd name="connsiteX41" fmla="*/ 2195989 w 2201989"/>
              <a:gd name="connsiteY41" fmla="*/ 1217962 h 2208466"/>
              <a:gd name="connsiteX42" fmla="*/ 2201990 w 2201989"/>
              <a:gd name="connsiteY42" fmla="*/ 1111568 h 2208466"/>
              <a:gd name="connsiteX43" fmla="*/ 2104930 w 2201989"/>
              <a:gd name="connsiteY43" fmla="*/ 1076135 h 2208466"/>
              <a:gd name="connsiteX44" fmla="*/ 2063782 w 2201989"/>
              <a:gd name="connsiteY44" fmla="*/ 816769 h 2208466"/>
              <a:gd name="connsiteX45" fmla="*/ 2145411 w 2201989"/>
              <a:gd name="connsiteY45" fmla="*/ 752475 h 2208466"/>
              <a:gd name="connsiteX46" fmla="*/ 2058638 w 2201989"/>
              <a:gd name="connsiteY46" fmla="*/ 558451 h 2208466"/>
              <a:gd name="connsiteX47" fmla="*/ 1956721 w 2201989"/>
              <a:gd name="connsiteY47" fmla="*/ 576548 h 2208466"/>
              <a:gd name="connsiteX48" fmla="*/ 1791748 w 2201989"/>
              <a:gd name="connsiteY48" fmla="*/ 372618 h 2208466"/>
              <a:gd name="connsiteX49" fmla="*/ 1830324 w 2201989"/>
              <a:gd name="connsiteY49" fmla="*/ 276320 h 2208466"/>
              <a:gd name="connsiteX50" fmla="*/ 1658779 w 2201989"/>
              <a:gd name="connsiteY50" fmla="*/ 151257 h 2208466"/>
              <a:gd name="connsiteX51" fmla="*/ 1579245 w 2201989"/>
              <a:gd name="connsiteY51" fmla="*/ 218218 h 2208466"/>
              <a:gd name="connsiteX52" fmla="*/ 1334643 w 2201989"/>
              <a:gd name="connsiteY52" fmla="*/ 124492 h 2208466"/>
              <a:gd name="connsiteX53" fmla="*/ 1887379 w 2201989"/>
              <a:gd name="connsiteY53" fmla="*/ 1185862 h 2208466"/>
              <a:gd name="connsiteX54" fmla="*/ 1018889 w 2201989"/>
              <a:gd name="connsiteY54" fmla="*/ 1892999 h 2208466"/>
              <a:gd name="connsiteX55" fmla="*/ 314420 w 2201989"/>
              <a:gd name="connsiteY55" fmla="*/ 1022413 h 2208466"/>
              <a:gd name="connsiteX56" fmla="*/ 1182910 w 2201989"/>
              <a:gd name="connsiteY56" fmla="*/ 315277 h 2208466"/>
              <a:gd name="connsiteX57" fmla="*/ 1887379 w 2201989"/>
              <a:gd name="connsiteY57" fmla="*/ 1185862 h 220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201989" h="2208466">
                <a:moveTo>
                  <a:pt x="1334643" y="124492"/>
                </a:moveTo>
                <a:lnTo>
                  <a:pt x="1320070" y="21907"/>
                </a:lnTo>
                <a:cubicBezTo>
                  <a:pt x="1285589" y="14954"/>
                  <a:pt x="1250537" y="9620"/>
                  <a:pt x="1215009" y="5905"/>
                </a:cubicBezTo>
                <a:cubicBezTo>
                  <a:pt x="1179481" y="2191"/>
                  <a:pt x="1144143" y="286"/>
                  <a:pt x="1108901" y="0"/>
                </a:cubicBezTo>
                <a:lnTo>
                  <a:pt x="1073563" y="97441"/>
                </a:lnTo>
                <a:cubicBezTo>
                  <a:pt x="1033367" y="208217"/>
                  <a:pt x="887444" y="231648"/>
                  <a:pt x="814959" y="138875"/>
                </a:cubicBezTo>
                <a:lnTo>
                  <a:pt x="750951" y="56959"/>
                </a:lnTo>
                <a:cubicBezTo>
                  <a:pt x="684086" y="79534"/>
                  <a:pt x="619315" y="108585"/>
                  <a:pt x="557403" y="144113"/>
                </a:cubicBezTo>
                <a:lnTo>
                  <a:pt x="575405" y="246317"/>
                </a:lnTo>
                <a:cubicBezTo>
                  <a:pt x="595789" y="362426"/>
                  <a:pt x="481108" y="455771"/>
                  <a:pt x="372047" y="411956"/>
                </a:cubicBezTo>
                <a:lnTo>
                  <a:pt x="276035" y="373285"/>
                </a:lnTo>
                <a:cubicBezTo>
                  <a:pt x="228695" y="426720"/>
                  <a:pt x="186976" y="484346"/>
                  <a:pt x="151257" y="545401"/>
                </a:cubicBezTo>
                <a:lnTo>
                  <a:pt x="217932" y="625126"/>
                </a:lnTo>
                <a:cubicBezTo>
                  <a:pt x="293465" y="715423"/>
                  <a:pt x="240602" y="853821"/>
                  <a:pt x="124301" y="870490"/>
                </a:cubicBezTo>
                <a:lnTo>
                  <a:pt x="22003" y="885158"/>
                </a:lnTo>
                <a:cubicBezTo>
                  <a:pt x="15050" y="919829"/>
                  <a:pt x="9716" y="954881"/>
                  <a:pt x="6001" y="990505"/>
                </a:cubicBezTo>
                <a:cubicBezTo>
                  <a:pt x="2286" y="1026128"/>
                  <a:pt x="381" y="1061561"/>
                  <a:pt x="0" y="1096899"/>
                </a:cubicBezTo>
                <a:lnTo>
                  <a:pt x="97060" y="1132332"/>
                </a:lnTo>
                <a:cubicBezTo>
                  <a:pt x="207455" y="1172623"/>
                  <a:pt x="230696" y="1318927"/>
                  <a:pt x="138208" y="1391698"/>
                </a:cubicBezTo>
                <a:lnTo>
                  <a:pt x="56579" y="1455992"/>
                </a:lnTo>
                <a:cubicBezTo>
                  <a:pt x="79058" y="1523048"/>
                  <a:pt x="108014" y="1588008"/>
                  <a:pt x="143351" y="1650016"/>
                </a:cubicBezTo>
                <a:lnTo>
                  <a:pt x="245269" y="1631918"/>
                </a:lnTo>
                <a:cubicBezTo>
                  <a:pt x="360998" y="1611344"/>
                  <a:pt x="454057" y="1726406"/>
                  <a:pt x="410242" y="1835849"/>
                </a:cubicBezTo>
                <a:lnTo>
                  <a:pt x="371666" y="1932146"/>
                </a:lnTo>
                <a:cubicBezTo>
                  <a:pt x="424910" y="1979581"/>
                  <a:pt x="482346" y="2021395"/>
                  <a:pt x="543211" y="2057210"/>
                </a:cubicBezTo>
                <a:lnTo>
                  <a:pt x="622745" y="1990249"/>
                </a:lnTo>
                <a:cubicBezTo>
                  <a:pt x="712756" y="1914430"/>
                  <a:pt x="850773" y="1967293"/>
                  <a:pt x="867347" y="2083975"/>
                </a:cubicBezTo>
                <a:lnTo>
                  <a:pt x="881920" y="2186559"/>
                </a:lnTo>
                <a:cubicBezTo>
                  <a:pt x="916400" y="2193512"/>
                  <a:pt x="951452" y="2198846"/>
                  <a:pt x="986981" y="2202561"/>
                </a:cubicBezTo>
                <a:cubicBezTo>
                  <a:pt x="1022413" y="2206276"/>
                  <a:pt x="1057847" y="2208181"/>
                  <a:pt x="1093089" y="2208467"/>
                </a:cubicBezTo>
                <a:lnTo>
                  <a:pt x="1128427" y="2111026"/>
                </a:lnTo>
                <a:cubicBezTo>
                  <a:pt x="1168622" y="2000250"/>
                  <a:pt x="1314545" y="1976818"/>
                  <a:pt x="1387031" y="2069592"/>
                </a:cubicBezTo>
                <a:lnTo>
                  <a:pt x="1451039" y="2151507"/>
                </a:lnTo>
                <a:cubicBezTo>
                  <a:pt x="1517904" y="2128933"/>
                  <a:pt x="1582674" y="2099882"/>
                  <a:pt x="1644587" y="2064353"/>
                </a:cubicBezTo>
                <a:lnTo>
                  <a:pt x="1626584" y="1962150"/>
                </a:lnTo>
                <a:cubicBezTo>
                  <a:pt x="1606201" y="1846040"/>
                  <a:pt x="1720882" y="1752695"/>
                  <a:pt x="1829943" y="1796510"/>
                </a:cubicBezTo>
                <a:lnTo>
                  <a:pt x="1925955" y="1835182"/>
                </a:lnTo>
                <a:cubicBezTo>
                  <a:pt x="1973294" y="1781746"/>
                  <a:pt x="2015014" y="1724120"/>
                  <a:pt x="2050733" y="1663065"/>
                </a:cubicBezTo>
                <a:lnTo>
                  <a:pt x="1984058" y="1583341"/>
                </a:lnTo>
                <a:cubicBezTo>
                  <a:pt x="1908524" y="1493044"/>
                  <a:pt x="1961388" y="1354645"/>
                  <a:pt x="2077688" y="1337977"/>
                </a:cubicBezTo>
                <a:lnTo>
                  <a:pt x="2179987" y="1323308"/>
                </a:lnTo>
                <a:cubicBezTo>
                  <a:pt x="2186940" y="1288637"/>
                  <a:pt x="2192274" y="1253585"/>
                  <a:pt x="2195989" y="1217962"/>
                </a:cubicBezTo>
                <a:cubicBezTo>
                  <a:pt x="2199704" y="1182338"/>
                  <a:pt x="2201609" y="1146905"/>
                  <a:pt x="2201990" y="1111568"/>
                </a:cubicBezTo>
                <a:lnTo>
                  <a:pt x="2104930" y="1076135"/>
                </a:lnTo>
                <a:cubicBezTo>
                  <a:pt x="1994535" y="1035844"/>
                  <a:pt x="1971294" y="889540"/>
                  <a:pt x="2063782" y="816769"/>
                </a:cubicBezTo>
                <a:lnTo>
                  <a:pt x="2145411" y="752475"/>
                </a:lnTo>
                <a:cubicBezTo>
                  <a:pt x="2122932" y="685419"/>
                  <a:pt x="2093976" y="620459"/>
                  <a:pt x="2058638" y="558451"/>
                </a:cubicBezTo>
                <a:lnTo>
                  <a:pt x="1956721" y="576548"/>
                </a:lnTo>
                <a:cubicBezTo>
                  <a:pt x="1840992" y="597122"/>
                  <a:pt x="1747933" y="482060"/>
                  <a:pt x="1791748" y="372618"/>
                </a:cubicBezTo>
                <a:lnTo>
                  <a:pt x="1830324" y="276320"/>
                </a:lnTo>
                <a:cubicBezTo>
                  <a:pt x="1777079" y="228886"/>
                  <a:pt x="1719643" y="187071"/>
                  <a:pt x="1658779" y="151257"/>
                </a:cubicBezTo>
                <a:lnTo>
                  <a:pt x="1579245" y="218218"/>
                </a:lnTo>
                <a:cubicBezTo>
                  <a:pt x="1489234" y="294037"/>
                  <a:pt x="1351217" y="241173"/>
                  <a:pt x="1334643" y="124492"/>
                </a:cubicBezTo>
                <a:close/>
                <a:moveTo>
                  <a:pt x="1887379" y="1185862"/>
                </a:moveTo>
                <a:cubicBezTo>
                  <a:pt x="1842135" y="1621536"/>
                  <a:pt x="1453325" y="1938147"/>
                  <a:pt x="1018889" y="1892999"/>
                </a:cubicBezTo>
                <a:cubicBezTo>
                  <a:pt x="584549" y="1847850"/>
                  <a:pt x="269081" y="1458087"/>
                  <a:pt x="314420" y="1022413"/>
                </a:cubicBezTo>
                <a:cubicBezTo>
                  <a:pt x="359664" y="586740"/>
                  <a:pt x="748475" y="270129"/>
                  <a:pt x="1182910" y="315277"/>
                </a:cubicBezTo>
                <a:cubicBezTo>
                  <a:pt x="1617250" y="360426"/>
                  <a:pt x="1932718" y="750189"/>
                  <a:pt x="1887379" y="1185862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" name="Freihandform: Form 9">
            <a:extLst>
              <a:ext uri="{FF2B5EF4-FFF2-40B4-BE49-F238E27FC236}">
                <a16:creationId xmlns:a16="http://schemas.microsoft.com/office/drawing/2014/main" id="{88C0AB94-5AC4-0EE9-12D3-7559B4730098}"/>
              </a:ext>
            </a:extLst>
          </p:cNvPr>
          <p:cNvSpPr>
            <a:spLocks/>
          </p:cNvSpPr>
          <p:nvPr/>
        </p:nvSpPr>
        <p:spPr>
          <a:xfrm>
            <a:off x="5333483" y="3415595"/>
            <a:ext cx="1589747" cy="1584015"/>
          </a:xfrm>
          <a:custGeom>
            <a:avLst/>
            <a:gdLst>
              <a:gd name="connsiteX0" fmla="*/ 1840230 w 2034350"/>
              <a:gd name="connsiteY0" fmla="*/ 1611535 h 2027015"/>
              <a:gd name="connsiteX1" fmla="*/ 1904715 w 2034350"/>
              <a:gd name="connsiteY1" fmla="*/ 1510760 h 2027015"/>
              <a:gd name="connsiteX2" fmla="*/ 1955388 w 2034350"/>
              <a:gd name="connsiteY2" fmla="*/ 1406366 h 2027015"/>
              <a:gd name="connsiteX3" fmla="*/ 1800130 w 2034350"/>
              <a:gd name="connsiteY3" fmla="*/ 1273778 h 2027015"/>
              <a:gd name="connsiteX4" fmla="*/ 1840039 w 2034350"/>
              <a:gd name="connsiteY4" fmla="*/ 1075373 h 2027015"/>
              <a:gd name="connsiteX5" fmla="*/ 2034350 w 2034350"/>
              <a:gd name="connsiteY5" fmla="*/ 1012984 h 2027015"/>
              <a:gd name="connsiteX6" fmla="*/ 2007298 w 2034350"/>
              <a:gd name="connsiteY6" fmla="*/ 779335 h 2027015"/>
              <a:gd name="connsiteX7" fmla="*/ 1803654 w 2034350"/>
              <a:gd name="connsiteY7" fmla="*/ 763524 h 2027015"/>
              <a:gd name="connsiteX8" fmla="*/ 1719072 w 2034350"/>
              <a:gd name="connsiteY8" fmla="*/ 579596 h 2027015"/>
              <a:gd name="connsiteX9" fmla="*/ 1839754 w 2034350"/>
              <a:gd name="connsiteY9" fmla="*/ 414623 h 2027015"/>
              <a:gd name="connsiteX10" fmla="*/ 1685449 w 2034350"/>
              <a:gd name="connsiteY10" fmla="*/ 246317 h 2027015"/>
              <a:gd name="connsiteX11" fmla="*/ 1510665 w 2034350"/>
              <a:gd name="connsiteY11" fmla="*/ 352520 h 2027015"/>
              <a:gd name="connsiteX12" fmla="*/ 1334834 w 2034350"/>
              <a:gd name="connsiteY12" fmla="*/ 252032 h 2027015"/>
              <a:gd name="connsiteX13" fmla="*/ 1336739 w 2034350"/>
              <a:gd name="connsiteY13" fmla="*/ 47434 h 2027015"/>
              <a:gd name="connsiteX14" fmla="*/ 1106138 w 2034350"/>
              <a:gd name="connsiteY14" fmla="*/ 0 h 2027015"/>
              <a:gd name="connsiteX15" fmla="*/ 1027272 w 2034350"/>
              <a:gd name="connsiteY15" fmla="*/ 188595 h 2027015"/>
              <a:gd name="connsiteX16" fmla="*/ 825913 w 2034350"/>
              <a:gd name="connsiteY16" fmla="*/ 210884 h 2027015"/>
              <a:gd name="connsiteX17" fmla="*/ 707136 w 2034350"/>
              <a:gd name="connsiteY17" fmla="*/ 44767 h 2027015"/>
              <a:gd name="connsiteX18" fmla="*/ 493014 w 2034350"/>
              <a:gd name="connsiteY18" fmla="*/ 141922 h 2027015"/>
              <a:gd name="connsiteX19" fmla="*/ 539877 w 2034350"/>
              <a:gd name="connsiteY19" fmla="*/ 340519 h 2027015"/>
              <a:gd name="connsiteX20" fmla="*/ 390430 w 2034350"/>
              <a:gd name="connsiteY20" fmla="*/ 477012 h 2027015"/>
              <a:gd name="connsiteX21" fmla="*/ 196596 w 2034350"/>
              <a:gd name="connsiteY21" fmla="*/ 412528 h 2027015"/>
              <a:gd name="connsiteX22" fmla="*/ 129826 w 2034350"/>
              <a:gd name="connsiteY22" fmla="*/ 515779 h 2027015"/>
              <a:gd name="connsiteX23" fmla="*/ 80486 w 2034350"/>
              <a:gd name="connsiteY23" fmla="*/ 616934 h 2027015"/>
              <a:gd name="connsiteX24" fmla="*/ 235458 w 2034350"/>
              <a:gd name="connsiteY24" fmla="*/ 749999 h 2027015"/>
              <a:gd name="connsiteX25" fmla="*/ 194882 w 2034350"/>
              <a:gd name="connsiteY25" fmla="*/ 948214 h 2027015"/>
              <a:gd name="connsiteX26" fmla="*/ 0 w 2034350"/>
              <a:gd name="connsiteY26" fmla="*/ 1009841 h 2027015"/>
              <a:gd name="connsiteX27" fmla="*/ 26575 w 2034350"/>
              <a:gd name="connsiteY27" fmla="*/ 1244251 h 2027015"/>
              <a:gd name="connsiteX28" fmla="*/ 230314 w 2034350"/>
              <a:gd name="connsiteY28" fmla="*/ 1260729 h 2027015"/>
              <a:gd name="connsiteX29" fmla="*/ 314325 w 2034350"/>
              <a:gd name="connsiteY29" fmla="*/ 1444847 h 2027015"/>
              <a:gd name="connsiteX30" fmla="*/ 192881 w 2034350"/>
              <a:gd name="connsiteY30" fmla="*/ 1609439 h 2027015"/>
              <a:gd name="connsiteX31" fmla="*/ 351854 w 2034350"/>
              <a:gd name="connsiteY31" fmla="*/ 1782985 h 2027015"/>
              <a:gd name="connsiteX32" fmla="*/ 526447 w 2034350"/>
              <a:gd name="connsiteY32" fmla="*/ 1676210 h 2027015"/>
              <a:gd name="connsiteX33" fmla="*/ 702659 w 2034350"/>
              <a:gd name="connsiteY33" fmla="*/ 1775936 h 2027015"/>
              <a:gd name="connsiteX34" fmla="*/ 701135 w 2034350"/>
              <a:gd name="connsiteY34" fmla="*/ 1980438 h 2027015"/>
              <a:gd name="connsiteX35" fmla="*/ 932022 w 2034350"/>
              <a:gd name="connsiteY35" fmla="*/ 2027015 h 2027015"/>
              <a:gd name="connsiteX36" fmla="*/ 1010317 w 2034350"/>
              <a:gd name="connsiteY36" fmla="*/ 1838230 h 2027015"/>
              <a:gd name="connsiteX37" fmla="*/ 1211580 w 2034350"/>
              <a:gd name="connsiteY37" fmla="*/ 1815084 h 2027015"/>
              <a:gd name="connsiteX38" fmla="*/ 1330738 w 2034350"/>
              <a:gd name="connsiteY38" fmla="*/ 1980914 h 2027015"/>
              <a:gd name="connsiteX39" fmla="*/ 1544764 w 2034350"/>
              <a:gd name="connsiteY39" fmla="*/ 1883188 h 2027015"/>
              <a:gd name="connsiteX40" fmla="*/ 1496949 w 2034350"/>
              <a:gd name="connsiteY40" fmla="*/ 1684687 h 2027015"/>
              <a:gd name="connsiteX41" fmla="*/ 1646015 w 2034350"/>
              <a:gd name="connsiteY41" fmla="*/ 1547336 h 2027015"/>
              <a:gd name="connsiteX42" fmla="*/ 1840135 w 2034350"/>
              <a:gd name="connsiteY42" fmla="*/ 1611630 h 2027015"/>
              <a:gd name="connsiteX43" fmla="*/ 684086 w 2034350"/>
              <a:gd name="connsiteY43" fmla="*/ 1565910 h 2027015"/>
              <a:gd name="connsiteX44" fmla="*/ 464820 w 2034350"/>
              <a:gd name="connsiteY44" fmla="*/ 680466 h 2027015"/>
              <a:gd name="connsiteX45" fmla="*/ 1350264 w 2034350"/>
              <a:gd name="connsiteY45" fmla="*/ 461200 h 2027015"/>
              <a:gd name="connsiteX46" fmla="*/ 1569530 w 2034350"/>
              <a:gd name="connsiteY46" fmla="*/ 1346644 h 2027015"/>
              <a:gd name="connsiteX47" fmla="*/ 684086 w 2034350"/>
              <a:gd name="connsiteY47" fmla="*/ 1565910 h 2027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034350" h="2027015">
                <a:moveTo>
                  <a:pt x="1840230" y="1611535"/>
                </a:moveTo>
                <a:cubicBezTo>
                  <a:pt x="1863376" y="1579435"/>
                  <a:pt x="1885093" y="1545908"/>
                  <a:pt x="1904715" y="1510760"/>
                </a:cubicBezTo>
                <a:cubicBezTo>
                  <a:pt x="1923955" y="1476661"/>
                  <a:pt x="1940719" y="1441704"/>
                  <a:pt x="1955388" y="1406366"/>
                </a:cubicBezTo>
                <a:lnTo>
                  <a:pt x="1800130" y="1273778"/>
                </a:lnTo>
                <a:lnTo>
                  <a:pt x="1840039" y="1075373"/>
                </a:lnTo>
                <a:lnTo>
                  <a:pt x="2034350" y="1012984"/>
                </a:lnTo>
                <a:cubicBezTo>
                  <a:pt x="2034445" y="934022"/>
                  <a:pt x="2025206" y="855631"/>
                  <a:pt x="2007298" y="779335"/>
                </a:cubicBezTo>
                <a:lnTo>
                  <a:pt x="1803654" y="763524"/>
                </a:lnTo>
                <a:lnTo>
                  <a:pt x="1719072" y="579596"/>
                </a:lnTo>
                <a:lnTo>
                  <a:pt x="1839754" y="414623"/>
                </a:lnTo>
                <a:cubicBezTo>
                  <a:pt x="1795463" y="353663"/>
                  <a:pt x="1743933" y="296990"/>
                  <a:pt x="1685449" y="246317"/>
                </a:cubicBezTo>
                <a:lnTo>
                  <a:pt x="1510665" y="352520"/>
                </a:lnTo>
                <a:lnTo>
                  <a:pt x="1334834" y="252032"/>
                </a:lnTo>
                <a:lnTo>
                  <a:pt x="1336739" y="47434"/>
                </a:lnTo>
                <a:cubicBezTo>
                  <a:pt x="1260920" y="22384"/>
                  <a:pt x="1183577" y="6667"/>
                  <a:pt x="1106138" y="0"/>
                </a:cubicBezTo>
                <a:lnTo>
                  <a:pt x="1027272" y="188595"/>
                </a:lnTo>
                <a:lnTo>
                  <a:pt x="825913" y="210884"/>
                </a:lnTo>
                <a:lnTo>
                  <a:pt x="707136" y="44767"/>
                </a:lnTo>
                <a:cubicBezTo>
                  <a:pt x="632650" y="68675"/>
                  <a:pt x="560737" y="101060"/>
                  <a:pt x="493014" y="141922"/>
                </a:cubicBezTo>
                <a:lnTo>
                  <a:pt x="539877" y="340519"/>
                </a:lnTo>
                <a:lnTo>
                  <a:pt x="390430" y="477012"/>
                </a:lnTo>
                <a:lnTo>
                  <a:pt x="196596" y="412528"/>
                </a:lnTo>
                <a:cubicBezTo>
                  <a:pt x="172784" y="445008"/>
                  <a:pt x="150305" y="479393"/>
                  <a:pt x="129826" y="515779"/>
                </a:cubicBezTo>
                <a:cubicBezTo>
                  <a:pt x="111347" y="549116"/>
                  <a:pt x="95059" y="582835"/>
                  <a:pt x="80486" y="616934"/>
                </a:cubicBezTo>
                <a:lnTo>
                  <a:pt x="235458" y="749999"/>
                </a:lnTo>
                <a:lnTo>
                  <a:pt x="194882" y="948214"/>
                </a:lnTo>
                <a:lnTo>
                  <a:pt x="0" y="1009841"/>
                </a:lnTo>
                <a:cubicBezTo>
                  <a:pt x="0" y="1088993"/>
                  <a:pt x="8668" y="1167765"/>
                  <a:pt x="26575" y="1244251"/>
                </a:cubicBezTo>
                <a:lnTo>
                  <a:pt x="230314" y="1260729"/>
                </a:lnTo>
                <a:lnTo>
                  <a:pt x="314325" y="1444847"/>
                </a:lnTo>
                <a:lnTo>
                  <a:pt x="192881" y="1609439"/>
                </a:lnTo>
                <a:cubicBezTo>
                  <a:pt x="238601" y="1672400"/>
                  <a:pt x="291465" y="1730978"/>
                  <a:pt x="351854" y="1782985"/>
                </a:cubicBezTo>
                <a:lnTo>
                  <a:pt x="526447" y="1676210"/>
                </a:lnTo>
                <a:lnTo>
                  <a:pt x="702659" y="1775936"/>
                </a:lnTo>
                <a:lnTo>
                  <a:pt x="701135" y="1980438"/>
                </a:lnTo>
                <a:cubicBezTo>
                  <a:pt x="777050" y="2005108"/>
                  <a:pt x="854488" y="2020538"/>
                  <a:pt x="932022" y="2027015"/>
                </a:cubicBezTo>
                <a:lnTo>
                  <a:pt x="1010317" y="1838230"/>
                </a:lnTo>
                <a:lnTo>
                  <a:pt x="1211580" y="1815084"/>
                </a:lnTo>
                <a:lnTo>
                  <a:pt x="1330738" y="1980914"/>
                </a:lnTo>
                <a:cubicBezTo>
                  <a:pt x="1405414" y="1956721"/>
                  <a:pt x="1477328" y="1924145"/>
                  <a:pt x="1544764" y="1883188"/>
                </a:cubicBezTo>
                <a:lnTo>
                  <a:pt x="1496949" y="1684687"/>
                </a:lnTo>
                <a:lnTo>
                  <a:pt x="1646015" y="1547336"/>
                </a:lnTo>
                <a:lnTo>
                  <a:pt x="1840135" y="1611630"/>
                </a:lnTo>
                <a:close/>
                <a:moveTo>
                  <a:pt x="684086" y="1565910"/>
                </a:moveTo>
                <a:cubicBezTo>
                  <a:pt x="379000" y="1381982"/>
                  <a:pt x="280892" y="985552"/>
                  <a:pt x="464820" y="680466"/>
                </a:cubicBezTo>
                <a:cubicBezTo>
                  <a:pt x="648748" y="375380"/>
                  <a:pt x="1045178" y="277273"/>
                  <a:pt x="1350264" y="461200"/>
                </a:cubicBezTo>
                <a:cubicBezTo>
                  <a:pt x="1655350" y="645128"/>
                  <a:pt x="1753458" y="1041559"/>
                  <a:pt x="1569530" y="1346644"/>
                </a:cubicBezTo>
                <a:cubicBezTo>
                  <a:pt x="1385602" y="1651730"/>
                  <a:pt x="989172" y="1749838"/>
                  <a:pt x="684086" y="156591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" name="Gruppieren 16">
            <a:extLst>
              <a:ext uri="{FF2B5EF4-FFF2-40B4-BE49-F238E27FC236}">
                <a16:creationId xmlns:a16="http://schemas.microsoft.com/office/drawing/2014/main" id="{1092B6F9-1DCF-AE7B-560B-DA75585CC16B}"/>
              </a:ext>
            </a:extLst>
          </p:cNvPr>
          <p:cNvGrpSpPr>
            <a:grpSpLocks/>
          </p:cNvGrpSpPr>
          <p:nvPr/>
        </p:nvGrpSpPr>
        <p:grpSpPr>
          <a:xfrm>
            <a:off x="7646181" y="1830539"/>
            <a:ext cx="3631420" cy="3642098"/>
            <a:chOff x="7646181" y="1830539"/>
            <a:chExt cx="3631420" cy="3642098"/>
          </a:xfrm>
        </p:grpSpPr>
        <p:sp>
          <p:nvSpPr>
            <p:cNvPr id="9" name="Freihandform: Form 11">
              <a:extLst>
                <a:ext uri="{FF2B5EF4-FFF2-40B4-BE49-F238E27FC236}">
                  <a16:creationId xmlns:a16="http://schemas.microsoft.com/office/drawing/2014/main" id="{85891884-E7C8-6663-2C16-7FB37E442293}"/>
                </a:ext>
              </a:extLst>
            </p:cNvPr>
            <p:cNvSpPr>
              <a:spLocks/>
            </p:cNvSpPr>
            <p:nvPr/>
          </p:nvSpPr>
          <p:spPr>
            <a:xfrm>
              <a:off x="7646181" y="1830539"/>
              <a:ext cx="3631420" cy="3642098"/>
            </a:xfrm>
            <a:custGeom>
              <a:avLst/>
              <a:gdLst>
                <a:gd name="connsiteX0" fmla="*/ 1844993 w 3043999"/>
                <a:gd name="connsiteY0" fmla="*/ 172117 h 3052952"/>
                <a:gd name="connsiteX1" fmla="*/ 1824895 w 3043999"/>
                <a:gd name="connsiteY1" fmla="*/ 30290 h 3052952"/>
                <a:gd name="connsiteX2" fmla="*/ 1679734 w 3043999"/>
                <a:gd name="connsiteY2" fmla="*/ 8192 h 3052952"/>
                <a:gd name="connsiteX3" fmla="*/ 1533144 w 3043999"/>
                <a:gd name="connsiteY3" fmla="*/ 0 h 3052952"/>
                <a:gd name="connsiteX4" fmla="*/ 1484281 w 3043999"/>
                <a:gd name="connsiteY4" fmla="*/ 134684 h 3052952"/>
                <a:gd name="connsiteX5" fmla="*/ 1126712 w 3043999"/>
                <a:gd name="connsiteY5" fmla="*/ 192024 h 3052952"/>
                <a:gd name="connsiteX6" fmla="*/ 1038225 w 3043999"/>
                <a:gd name="connsiteY6" fmla="*/ 78867 h 3052952"/>
                <a:gd name="connsiteX7" fmla="*/ 770668 w 3043999"/>
                <a:gd name="connsiteY7" fmla="*/ 199263 h 3052952"/>
                <a:gd name="connsiteX8" fmla="*/ 795528 w 3043999"/>
                <a:gd name="connsiteY8" fmla="*/ 340519 h 3052952"/>
                <a:gd name="connsiteX9" fmla="*/ 514350 w 3043999"/>
                <a:gd name="connsiteY9" fmla="*/ 569405 h 3052952"/>
                <a:gd name="connsiteX10" fmla="*/ 381667 w 3043999"/>
                <a:gd name="connsiteY10" fmla="*/ 515969 h 3052952"/>
                <a:gd name="connsiteX11" fmla="*/ 209169 w 3043999"/>
                <a:gd name="connsiteY11" fmla="*/ 753904 h 3052952"/>
                <a:gd name="connsiteX12" fmla="*/ 301371 w 3043999"/>
                <a:gd name="connsiteY12" fmla="*/ 864108 h 3052952"/>
                <a:gd name="connsiteX13" fmla="*/ 171926 w 3043999"/>
                <a:gd name="connsiteY13" fmla="*/ 1203293 h 3052952"/>
                <a:gd name="connsiteX14" fmla="*/ 30480 w 3043999"/>
                <a:gd name="connsiteY14" fmla="*/ 1223582 h 3052952"/>
                <a:gd name="connsiteX15" fmla="*/ 8287 w 3043999"/>
                <a:gd name="connsiteY15" fmla="*/ 1369219 h 3052952"/>
                <a:gd name="connsiteX16" fmla="*/ 0 w 3043999"/>
                <a:gd name="connsiteY16" fmla="*/ 1516285 h 3052952"/>
                <a:gd name="connsiteX17" fmla="*/ 134207 w 3043999"/>
                <a:gd name="connsiteY17" fmla="*/ 1565243 h 3052952"/>
                <a:gd name="connsiteX18" fmla="*/ 191167 w 3043999"/>
                <a:gd name="connsiteY18" fmla="*/ 1923764 h 3052952"/>
                <a:gd name="connsiteX19" fmla="*/ 78296 w 3043999"/>
                <a:gd name="connsiteY19" fmla="*/ 2012633 h 3052952"/>
                <a:gd name="connsiteX20" fmla="*/ 198215 w 3043999"/>
                <a:gd name="connsiteY20" fmla="*/ 2280952 h 3052952"/>
                <a:gd name="connsiteX21" fmla="*/ 339090 w 3043999"/>
                <a:gd name="connsiteY21" fmla="*/ 2255996 h 3052952"/>
                <a:gd name="connsiteX22" fmla="*/ 567214 w 3043999"/>
                <a:gd name="connsiteY22" fmla="*/ 2537841 h 3052952"/>
                <a:gd name="connsiteX23" fmla="*/ 513874 w 3043999"/>
                <a:gd name="connsiteY23" fmla="*/ 2670905 h 3052952"/>
                <a:gd name="connsiteX24" fmla="*/ 750951 w 3043999"/>
                <a:gd name="connsiteY24" fmla="*/ 2843784 h 3052952"/>
                <a:gd name="connsiteX25" fmla="*/ 860870 w 3043999"/>
                <a:gd name="connsiteY25" fmla="*/ 2751201 h 3052952"/>
                <a:gd name="connsiteX26" fmla="*/ 1199007 w 3043999"/>
                <a:gd name="connsiteY26" fmla="*/ 2880836 h 3052952"/>
                <a:gd name="connsiteX27" fmla="*/ 1219105 w 3043999"/>
                <a:gd name="connsiteY27" fmla="*/ 3022664 h 3052952"/>
                <a:gd name="connsiteX28" fmla="*/ 1364266 w 3043999"/>
                <a:gd name="connsiteY28" fmla="*/ 3044762 h 3052952"/>
                <a:gd name="connsiteX29" fmla="*/ 1510856 w 3043999"/>
                <a:gd name="connsiteY29" fmla="*/ 3052953 h 3052952"/>
                <a:gd name="connsiteX30" fmla="*/ 1559719 w 3043999"/>
                <a:gd name="connsiteY30" fmla="*/ 2918270 h 3052952"/>
                <a:gd name="connsiteX31" fmla="*/ 1917287 w 3043999"/>
                <a:gd name="connsiteY31" fmla="*/ 2860929 h 3052952"/>
                <a:gd name="connsiteX32" fmla="*/ 2005775 w 3043999"/>
                <a:gd name="connsiteY32" fmla="*/ 2974086 h 3052952"/>
                <a:gd name="connsiteX33" fmla="*/ 2273332 w 3043999"/>
                <a:gd name="connsiteY33" fmla="*/ 2853690 h 3052952"/>
                <a:gd name="connsiteX34" fmla="*/ 2248472 w 3043999"/>
                <a:gd name="connsiteY34" fmla="*/ 2712434 h 3052952"/>
                <a:gd name="connsiteX35" fmla="*/ 2529650 w 3043999"/>
                <a:gd name="connsiteY35" fmla="*/ 2483549 h 3052952"/>
                <a:gd name="connsiteX36" fmla="*/ 2662333 w 3043999"/>
                <a:gd name="connsiteY36" fmla="*/ 2536984 h 3052952"/>
                <a:gd name="connsiteX37" fmla="*/ 2834831 w 3043999"/>
                <a:gd name="connsiteY37" fmla="*/ 2299049 h 3052952"/>
                <a:gd name="connsiteX38" fmla="*/ 2742629 w 3043999"/>
                <a:gd name="connsiteY38" fmla="*/ 2188845 h 3052952"/>
                <a:gd name="connsiteX39" fmla="*/ 2872074 w 3043999"/>
                <a:gd name="connsiteY39" fmla="*/ 1849660 h 3052952"/>
                <a:gd name="connsiteX40" fmla="*/ 3013520 w 3043999"/>
                <a:gd name="connsiteY40" fmla="*/ 1829372 h 3052952"/>
                <a:gd name="connsiteX41" fmla="*/ 3035713 w 3043999"/>
                <a:gd name="connsiteY41" fmla="*/ 1683734 h 3052952"/>
                <a:gd name="connsiteX42" fmla="*/ 3044000 w 3043999"/>
                <a:gd name="connsiteY42" fmla="*/ 1536668 h 3052952"/>
                <a:gd name="connsiteX43" fmla="*/ 2909792 w 3043999"/>
                <a:gd name="connsiteY43" fmla="*/ 1487710 h 3052952"/>
                <a:gd name="connsiteX44" fmla="*/ 2852833 w 3043999"/>
                <a:gd name="connsiteY44" fmla="*/ 1129189 h 3052952"/>
                <a:gd name="connsiteX45" fmla="*/ 2965704 w 3043999"/>
                <a:gd name="connsiteY45" fmla="*/ 1040321 h 3052952"/>
                <a:gd name="connsiteX46" fmla="*/ 2845785 w 3043999"/>
                <a:gd name="connsiteY46" fmla="*/ 772001 h 3052952"/>
                <a:gd name="connsiteX47" fmla="*/ 2704909 w 3043999"/>
                <a:gd name="connsiteY47" fmla="*/ 796957 h 3052952"/>
                <a:gd name="connsiteX48" fmla="*/ 2476786 w 3043999"/>
                <a:gd name="connsiteY48" fmla="*/ 515112 h 3052952"/>
                <a:gd name="connsiteX49" fmla="*/ 2530126 w 3043999"/>
                <a:gd name="connsiteY49" fmla="*/ 382048 h 3052952"/>
                <a:gd name="connsiteX50" fmla="*/ 2293049 w 3043999"/>
                <a:gd name="connsiteY50" fmla="*/ 209169 h 3052952"/>
                <a:gd name="connsiteX51" fmla="*/ 2183130 w 3043999"/>
                <a:gd name="connsiteY51" fmla="*/ 301752 h 3052952"/>
                <a:gd name="connsiteX52" fmla="*/ 1844993 w 3043999"/>
                <a:gd name="connsiteY52" fmla="*/ 172117 h 3052952"/>
                <a:gd name="connsiteX53" fmla="*/ 2609088 w 3043999"/>
                <a:gd name="connsiteY53" fmla="*/ 1639348 h 3052952"/>
                <a:gd name="connsiteX54" fmla="*/ 1408557 w 3043999"/>
                <a:gd name="connsiteY54" fmla="*/ 2616899 h 3052952"/>
                <a:gd name="connsiteX55" fmla="*/ 434626 w 3043999"/>
                <a:gd name="connsiteY55" fmla="*/ 1413415 h 3052952"/>
                <a:gd name="connsiteX56" fmla="*/ 1635157 w 3043999"/>
                <a:gd name="connsiteY56" fmla="*/ 435864 h 3052952"/>
                <a:gd name="connsiteX57" fmla="*/ 2609088 w 3043999"/>
                <a:gd name="connsiteY57" fmla="*/ 1639348 h 3052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43999" h="3052952">
                  <a:moveTo>
                    <a:pt x="1844993" y="172117"/>
                  </a:moveTo>
                  <a:lnTo>
                    <a:pt x="1824895" y="30290"/>
                  </a:lnTo>
                  <a:cubicBezTo>
                    <a:pt x="1777175" y="20669"/>
                    <a:pt x="1728788" y="13240"/>
                    <a:pt x="1679734" y="8192"/>
                  </a:cubicBezTo>
                  <a:cubicBezTo>
                    <a:pt x="1630680" y="3143"/>
                    <a:pt x="1581817" y="381"/>
                    <a:pt x="1533144" y="0"/>
                  </a:cubicBezTo>
                  <a:lnTo>
                    <a:pt x="1484281" y="134684"/>
                  </a:lnTo>
                  <a:cubicBezTo>
                    <a:pt x="1428750" y="287846"/>
                    <a:pt x="1227011" y="320135"/>
                    <a:pt x="1126712" y="192024"/>
                  </a:cubicBezTo>
                  <a:lnTo>
                    <a:pt x="1038225" y="78867"/>
                  </a:lnTo>
                  <a:cubicBezTo>
                    <a:pt x="945737" y="110014"/>
                    <a:pt x="856202" y="150305"/>
                    <a:pt x="770668" y="199263"/>
                  </a:cubicBezTo>
                  <a:lnTo>
                    <a:pt x="795528" y="340519"/>
                  </a:lnTo>
                  <a:cubicBezTo>
                    <a:pt x="823722" y="501015"/>
                    <a:pt x="665131" y="630174"/>
                    <a:pt x="514350" y="569405"/>
                  </a:cubicBezTo>
                  <a:lnTo>
                    <a:pt x="381667" y="515969"/>
                  </a:lnTo>
                  <a:cubicBezTo>
                    <a:pt x="316230" y="589883"/>
                    <a:pt x="258604" y="669512"/>
                    <a:pt x="209169" y="753904"/>
                  </a:cubicBezTo>
                  <a:lnTo>
                    <a:pt x="301371" y="864108"/>
                  </a:lnTo>
                  <a:cubicBezTo>
                    <a:pt x="405765" y="988886"/>
                    <a:pt x="332804" y="1180243"/>
                    <a:pt x="171926" y="1203293"/>
                  </a:cubicBezTo>
                  <a:lnTo>
                    <a:pt x="30480" y="1223582"/>
                  </a:lnTo>
                  <a:cubicBezTo>
                    <a:pt x="20860" y="1271492"/>
                    <a:pt x="13430" y="1320070"/>
                    <a:pt x="8287" y="1369219"/>
                  </a:cubicBezTo>
                  <a:cubicBezTo>
                    <a:pt x="3143" y="1418368"/>
                    <a:pt x="476" y="1467422"/>
                    <a:pt x="0" y="1516285"/>
                  </a:cubicBezTo>
                  <a:lnTo>
                    <a:pt x="134207" y="1565243"/>
                  </a:lnTo>
                  <a:cubicBezTo>
                    <a:pt x="286893" y="1620869"/>
                    <a:pt x="318992" y="1823180"/>
                    <a:pt x="191167" y="1923764"/>
                  </a:cubicBezTo>
                  <a:lnTo>
                    <a:pt x="78296" y="2012633"/>
                  </a:lnTo>
                  <a:cubicBezTo>
                    <a:pt x="109347" y="2105311"/>
                    <a:pt x="149352" y="2195132"/>
                    <a:pt x="198215" y="2280952"/>
                  </a:cubicBezTo>
                  <a:lnTo>
                    <a:pt x="339090" y="2255996"/>
                  </a:lnTo>
                  <a:cubicBezTo>
                    <a:pt x="499110" y="2227612"/>
                    <a:pt x="627793" y="2386584"/>
                    <a:pt x="567214" y="2537841"/>
                  </a:cubicBezTo>
                  <a:lnTo>
                    <a:pt x="513874" y="2670905"/>
                  </a:lnTo>
                  <a:cubicBezTo>
                    <a:pt x="587502" y="2736437"/>
                    <a:pt x="666845" y="2794254"/>
                    <a:pt x="750951" y="2843784"/>
                  </a:cubicBezTo>
                  <a:lnTo>
                    <a:pt x="860870" y="2751201"/>
                  </a:lnTo>
                  <a:cubicBezTo>
                    <a:pt x="985361" y="2646426"/>
                    <a:pt x="1176052" y="2719483"/>
                    <a:pt x="1199007" y="2880836"/>
                  </a:cubicBezTo>
                  <a:lnTo>
                    <a:pt x="1219105" y="3022664"/>
                  </a:lnTo>
                  <a:cubicBezTo>
                    <a:pt x="1266825" y="3032284"/>
                    <a:pt x="1315212" y="3039713"/>
                    <a:pt x="1364266" y="3044762"/>
                  </a:cubicBezTo>
                  <a:cubicBezTo>
                    <a:pt x="1413320" y="3049810"/>
                    <a:pt x="1462183" y="3052572"/>
                    <a:pt x="1510856" y="3052953"/>
                  </a:cubicBezTo>
                  <a:lnTo>
                    <a:pt x="1559719" y="2918270"/>
                  </a:lnTo>
                  <a:cubicBezTo>
                    <a:pt x="1615250" y="2765108"/>
                    <a:pt x="1816989" y="2732818"/>
                    <a:pt x="1917287" y="2860929"/>
                  </a:cubicBezTo>
                  <a:lnTo>
                    <a:pt x="2005775" y="2974086"/>
                  </a:lnTo>
                  <a:cubicBezTo>
                    <a:pt x="2098262" y="2942939"/>
                    <a:pt x="2187797" y="2902649"/>
                    <a:pt x="2273332" y="2853690"/>
                  </a:cubicBezTo>
                  <a:lnTo>
                    <a:pt x="2248472" y="2712434"/>
                  </a:lnTo>
                  <a:cubicBezTo>
                    <a:pt x="2220277" y="2551938"/>
                    <a:pt x="2378869" y="2422779"/>
                    <a:pt x="2529650" y="2483549"/>
                  </a:cubicBezTo>
                  <a:lnTo>
                    <a:pt x="2662333" y="2536984"/>
                  </a:lnTo>
                  <a:cubicBezTo>
                    <a:pt x="2727770" y="2463070"/>
                    <a:pt x="2785396" y="2383441"/>
                    <a:pt x="2834831" y="2299049"/>
                  </a:cubicBezTo>
                  <a:lnTo>
                    <a:pt x="2742629" y="2188845"/>
                  </a:lnTo>
                  <a:cubicBezTo>
                    <a:pt x="2638234" y="2064068"/>
                    <a:pt x="2711196" y="1872710"/>
                    <a:pt x="2872074" y="1849660"/>
                  </a:cubicBezTo>
                  <a:lnTo>
                    <a:pt x="3013520" y="1829372"/>
                  </a:lnTo>
                  <a:cubicBezTo>
                    <a:pt x="3023140" y="1781461"/>
                    <a:pt x="3030569" y="1732979"/>
                    <a:pt x="3035713" y="1683734"/>
                  </a:cubicBezTo>
                  <a:cubicBezTo>
                    <a:pt x="3040856" y="1634585"/>
                    <a:pt x="3043524" y="1585532"/>
                    <a:pt x="3044000" y="1536668"/>
                  </a:cubicBezTo>
                  <a:lnTo>
                    <a:pt x="2909792" y="1487710"/>
                  </a:lnTo>
                  <a:cubicBezTo>
                    <a:pt x="2757107" y="1432084"/>
                    <a:pt x="2725008" y="1229773"/>
                    <a:pt x="2852833" y="1129189"/>
                  </a:cubicBezTo>
                  <a:lnTo>
                    <a:pt x="2965704" y="1040321"/>
                  </a:lnTo>
                  <a:cubicBezTo>
                    <a:pt x="2934652" y="947642"/>
                    <a:pt x="2894648" y="857822"/>
                    <a:pt x="2845785" y="772001"/>
                  </a:cubicBezTo>
                  <a:lnTo>
                    <a:pt x="2704909" y="796957"/>
                  </a:lnTo>
                  <a:cubicBezTo>
                    <a:pt x="2544890" y="825341"/>
                    <a:pt x="2416207" y="666369"/>
                    <a:pt x="2476786" y="515112"/>
                  </a:cubicBezTo>
                  <a:lnTo>
                    <a:pt x="2530126" y="382048"/>
                  </a:lnTo>
                  <a:cubicBezTo>
                    <a:pt x="2456498" y="316516"/>
                    <a:pt x="2377154" y="258699"/>
                    <a:pt x="2293049" y="209169"/>
                  </a:cubicBezTo>
                  <a:lnTo>
                    <a:pt x="2183130" y="301752"/>
                  </a:lnTo>
                  <a:cubicBezTo>
                    <a:pt x="2058638" y="406527"/>
                    <a:pt x="1867948" y="333470"/>
                    <a:pt x="1844993" y="172117"/>
                  </a:cubicBezTo>
                  <a:close/>
                  <a:moveTo>
                    <a:pt x="2609088" y="1639348"/>
                  </a:moveTo>
                  <a:cubicBezTo>
                    <a:pt x="2546509" y="2241614"/>
                    <a:pt x="2009013" y="2679287"/>
                    <a:pt x="1408557" y="2616899"/>
                  </a:cubicBezTo>
                  <a:cubicBezTo>
                    <a:pt x="808101" y="2554510"/>
                    <a:pt x="372046" y="2015681"/>
                    <a:pt x="434626" y="1413415"/>
                  </a:cubicBezTo>
                  <a:cubicBezTo>
                    <a:pt x="497205" y="811149"/>
                    <a:pt x="1034701" y="373475"/>
                    <a:pt x="1635157" y="435864"/>
                  </a:cubicBezTo>
                  <a:cubicBezTo>
                    <a:pt x="2235613" y="498253"/>
                    <a:pt x="2671667" y="1037082"/>
                    <a:pt x="2609088" y="1639348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Ellipse 15">
              <a:extLst>
                <a:ext uri="{FF2B5EF4-FFF2-40B4-BE49-F238E27FC236}">
                  <a16:creationId xmlns:a16="http://schemas.microsoft.com/office/drawing/2014/main" id="{5FD3576B-E9C8-9349-BE59-D847D16EC2A7}"/>
                </a:ext>
              </a:extLst>
            </p:cNvPr>
            <p:cNvSpPr>
              <a:spLocks/>
            </p:cNvSpPr>
            <p:nvPr/>
          </p:nvSpPr>
          <p:spPr>
            <a:xfrm>
              <a:off x="8236732" y="2422826"/>
              <a:ext cx="2448000" cy="2448000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kumimoji="0" lang="en-US" b="0" i="0" u="none" strike="noStrike" kern="1200" cap="none" spc="0" normalizeH="0" baseline="0" noProof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  <a:ea typeface="+mn-ea"/>
                  <a:sym typeface="Futura"/>
                </a:rPr>
                <a:t>Sample text</a:t>
              </a:r>
            </a:p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+mn-ea"/>
                  <a:sym typeface="Futura"/>
                </a:rPr>
                <a:t>Insert your text</a:t>
              </a:r>
            </a:p>
            <a:p>
              <a:pPr marL="0" lvl="1" algn="ctr">
                <a:spcAft>
                  <a:spcPts val="600"/>
                </a:spcAft>
                <a:buClr>
                  <a:srgbClr val="000000"/>
                </a:buClr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Lorem ipsum dolor si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am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Ut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enim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 ad minim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veniam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Quis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nostrud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 exercitatio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ullamc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sym typeface="Futura"/>
                </a:rPr>
                <a:t>. 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6EA600"/>
                </a:solidFill>
                <a:effectLst/>
                <a:uLnTx/>
                <a:uFillTx/>
                <a:ea typeface="+mn-ea"/>
                <a:sym typeface="Futura"/>
              </a:endParaRPr>
            </a:p>
          </p:txBody>
        </p:sp>
      </p:grpSp>
      <p:pic>
        <p:nvPicPr>
          <p:cNvPr id="12" name="Grafik 18">
            <a:extLst>
              <a:ext uri="{FF2B5EF4-FFF2-40B4-BE49-F238E27FC236}">
                <a16:creationId xmlns:a16="http://schemas.microsoft.com/office/drawing/2014/main" id="{5DCCB9BE-D720-8503-04B5-F030E5FF2E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7672" y="3985127"/>
            <a:ext cx="914400" cy="914400"/>
          </a:xfrm>
          <a:prstGeom prst="rect">
            <a:avLst/>
          </a:prstGeom>
        </p:spPr>
      </p:pic>
      <p:pic>
        <p:nvPicPr>
          <p:cNvPr id="13" name="Grafik 20">
            <a:extLst>
              <a:ext uri="{FF2B5EF4-FFF2-40B4-BE49-F238E27FC236}">
                <a16:creationId xmlns:a16="http://schemas.microsoft.com/office/drawing/2014/main" id="{12289FC9-8FD5-677F-FF0D-4C311B3725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2274" y="3857475"/>
            <a:ext cx="914400" cy="914400"/>
          </a:xfrm>
          <a:prstGeom prst="rect">
            <a:avLst/>
          </a:prstGeom>
        </p:spPr>
      </p:pic>
      <p:pic>
        <p:nvPicPr>
          <p:cNvPr id="14" name="Grafik 22">
            <a:extLst>
              <a:ext uri="{FF2B5EF4-FFF2-40B4-BE49-F238E27FC236}">
                <a16:creationId xmlns:a16="http://schemas.microsoft.com/office/drawing/2014/main" id="{BF67271F-DBBC-7416-4CB2-8D8509E45E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00875" y="2442547"/>
            <a:ext cx="914400" cy="914400"/>
          </a:xfrm>
          <a:prstGeom prst="rect">
            <a:avLst/>
          </a:prstGeom>
        </p:spPr>
      </p:pic>
      <p:pic>
        <p:nvPicPr>
          <p:cNvPr id="15" name="Grafik 24">
            <a:extLst>
              <a:ext uri="{FF2B5EF4-FFF2-40B4-BE49-F238E27FC236}">
                <a16:creationId xmlns:a16="http://schemas.microsoft.com/office/drawing/2014/main" id="{D7EBD9DE-7973-8E25-0BBE-8B6B58E54F8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71156" y="3750402"/>
            <a:ext cx="914400" cy="914400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0AADC2C-A370-24AD-F09E-53B7CBFF8AD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597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gear, icon, icons</a:t>
            </a:r>
          </a:p>
        </p:txBody>
      </p:sp>
    </p:spTree>
    <p:extLst>
      <p:ext uri="{BB962C8B-B14F-4D97-AF65-F5344CB8AC3E}">
        <p14:creationId xmlns:p14="http://schemas.microsoft.com/office/powerpoint/2010/main" val="704125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